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477" r:id="rId4"/>
  </p:sldMasterIdLst>
  <p:notesMasterIdLst>
    <p:notesMasterId r:id="rId12"/>
  </p:notesMasterIdLst>
  <p:sldIdLst>
    <p:sldId id="1281" r:id="rId5"/>
    <p:sldId id="5858" r:id="rId6"/>
    <p:sldId id="4247" r:id="rId7"/>
    <p:sldId id="1226" r:id="rId8"/>
    <p:sldId id="5852" r:id="rId9"/>
    <p:sldId id="5844" r:id="rId10"/>
    <p:sldId id="5855" r:id="rId11"/>
  </p:sldIdLst>
  <p:sldSz cx="12192000" cy="6858000"/>
  <p:notesSz cx="9296400" cy="7010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Ratka" initials="SR" lastIdx="8" clrIdx="0">
    <p:extLst>
      <p:ext uri="{19B8F6BF-5375-455C-9EA6-DF929625EA0E}">
        <p15:presenceInfo xmlns:p15="http://schemas.microsoft.com/office/powerpoint/2012/main" userId="S::sratka@irena.org::82c4675c-fdf7-4357-ace8-db58a522a6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A4CA"/>
    <a:srgbClr val="006192"/>
    <a:srgbClr val="A8CC8A"/>
    <a:srgbClr val="92BF6D"/>
    <a:srgbClr val="6B9FD7"/>
    <a:srgbClr val="6A9DD6"/>
    <a:srgbClr val="DED673"/>
    <a:srgbClr val="DCCD3E"/>
    <a:srgbClr val="A69C9F"/>
    <a:srgbClr val="C698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69" d="100"/>
          <a:sy n="69" d="100"/>
        </p:scale>
        <p:origin x="354" y="26"/>
      </p:cViewPr>
      <p:guideLst/>
    </p:cSldViewPr>
  </p:slideViewPr>
  <p:notesTextViewPr>
    <p:cViewPr>
      <p:scale>
        <a:sx n="1" d="1"/>
        <a:sy n="1" d="1"/>
      </p:scale>
      <p:origin x="0" y="-1426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a Gazzola" userId="c9075328-216a-4033-806c-51dbab41e6fe" providerId="ADAL" clId="{359E5D10-037F-4D7B-8D6F-13704F22D461}"/>
    <pc:docChg chg="modSld">
      <pc:chgData name="Daria Gazzola" userId="c9075328-216a-4033-806c-51dbab41e6fe" providerId="ADAL" clId="{359E5D10-037F-4D7B-8D6F-13704F22D461}" dt="2021-11-10T07:56:11.580" v="16" actId="20577"/>
      <pc:docMkLst>
        <pc:docMk/>
      </pc:docMkLst>
      <pc:sldChg chg="modNotesTx">
        <pc:chgData name="Daria Gazzola" userId="c9075328-216a-4033-806c-51dbab41e6fe" providerId="ADAL" clId="{359E5D10-037F-4D7B-8D6F-13704F22D461}" dt="2021-11-10T07:55:59.855" v="2" actId="20577"/>
        <pc:sldMkLst>
          <pc:docMk/>
          <pc:sldMk cId="359778183" sldId="1226"/>
        </pc:sldMkLst>
      </pc:sldChg>
      <pc:sldChg chg="modNotesTx">
        <pc:chgData name="Daria Gazzola" userId="c9075328-216a-4033-806c-51dbab41e6fe" providerId="ADAL" clId="{359E5D10-037F-4D7B-8D6F-13704F22D461}" dt="2021-11-10T07:56:11.580" v="16" actId="20577"/>
        <pc:sldMkLst>
          <pc:docMk/>
          <pc:sldMk cId="1814128631" sldId="585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rena.sharepoint.com/sites/Hardtodecarbonisesectors/Shared%20Documents/General/RZ%20Data%20and%20charts%20clean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i="0" baseline="0">
                <a:effectLst/>
              </a:rPr>
              <a:t>Industry</a:t>
            </a:r>
            <a:endParaRPr lang="en-US" sz="2000" b="1">
              <a:effectLst/>
            </a:endParaRPr>
          </a:p>
        </c:rich>
      </c:tx>
      <c:layout>
        <c:manualLayout>
          <c:xMode val="edge"/>
          <c:yMode val="edge"/>
          <c:x val="0.48341190577337045"/>
          <c:y val="1.99611684850219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4258300042346346"/>
          <c:y val="0.21506611410220364"/>
          <c:w val="0.45788949750762015"/>
          <c:h val="0.7798085967216614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6A9DD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52-4778-AA0A-908A9EB370FF}"/>
              </c:ext>
            </c:extLst>
          </c:dPt>
          <c:dPt>
            <c:idx val="1"/>
            <c:bubble3D val="0"/>
            <c:spPr>
              <a:solidFill>
                <a:srgbClr val="DCCD3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52-4778-AA0A-908A9EB370FF}"/>
              </c:ext>
            </c:extLst>
          </c:dPt>
          <c:dPt>
            <c:idx val="2"/>
            <c:bubble3D val="0"/>
            <c:spPr>
              <a:solidFill>
                <a:srgbClr val="C698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52-4778-AA0A-908A9EB370FF}"/>
              </c:ext>
            </c:extLst>
          </c:dPt>
          <c:dPt>
            <c:idx val="3"/>
            <c:bubble3D val="0"/>
            <c:spPr>
              <a:solidFill>
                <a:srgbClr val="92BF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752-4778-AA0A-908A9EB370FF}"/>
              </c:ext>
            </c:extLst>
          </c:dPt>
          <c:dPt>
            <c:idx val="4"/>
            <c:bubble3D val="0"/>
            <c:spPr>
              <a:solidFill>
                <a:srgbClr val="A69C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752-4778-AA0A-908A9EB370F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e charts'!$D$30:$D$34</c:f>
              <c:strCache>
                <c:ptCount val="5"/>
                <c:pt idx="0">
                  <c:v>Reduced demand and improved energy efficiency</c:v>
                </c:pt>
                <c:pt idx="1">
                  <c:v>Direct use of clean electricity</c:v>
                </c:pt>
                <c:pt idx="2">
                  <c:v>Direct use of renewable heat and biomass</c:v>
                </c:pt>
                <c:pt idx="3">
                  <c:v>Indirect use of clean electricity via synthetic fuels &amp; feedstocks</c:v>
                </c:pt>
                <c:pt idx="4">
                  <c:v>Use of carbon dioxide removal measures</c:v>
                </c:pt>
              </c:strCache>
            </c:strRef>
          </c:cat>
          <c:val>
            <c:numRef>
              <c:f>'Pie charts'!$E$30:$E$34</c:f>
              <c:numCache>
                <c:formatCode>0%</c:formatCode>
                <c:ptCount val="5"/>
                <c:pt idx="0">
                  <c:v>0.28302325581395349</c:v>
                </c:pt>
                <c:pt idx="1">
                  <c:v>0.20406976744186048</c:v>
                </c:pt>
                <c:pt idx="2">
                  <c:v>0.15523255813953488</c:v>
                </c:pt>
                <c:pt idx="3">
                  <c:v>9.7906976744186067E-2</c:v>
                </c:pt>
                <c:pt idx="4">
                  <c:v>0.25976744186046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752-4778-AA0A-908A9EB370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16156257535567"/>
          <c:y val="0"/>
          <c:w val="0.61916516924059561"/>
          <c:h val="0.9896383043405642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6A9DD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122-4124-B857-71E648D4EED5}"/>
              </c:ext>
            </c:extLst>
          </c:dPt>
          <c:dPt>
            <c:idx val="1"/>
            <c:bubble3D val="0"/>
            <c:spPr>
              <a:solidFill>
                <a:srgbClr val="DCCD3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122-4124-B857-71E648D4EED5}"/>
              </c:ext>
            </c:extLst>
          </c:dPt>
          <c:dPt>
            <c:idx val="2"/>
            <c:bubble3D val="0"/>
            <c:spPr>
              <a:solidFill>
                <a:srgbClr val="C698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122-4124-B857-71E648D4EED5}"/>
              </c:ext>
            </c:extLst>
          </c:dPt>
          <c:dPt>
            <c:idx val="3"/>
            <c:bubble3D val="0"/>
            <c:spPr>
              <a:solidFill>
                <a:srgbClr val="92BF6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122-4124-B857-71E648D4EED5}"/>
              </c:ext>
            </c:extLst>
          </c:dPt>
          <c:dPt>
            <c:idx val="4"/>
            <c:bubble3D val="0"/>
            <c:spPr>
              <a:solidFill>
                <a:srgbClr val="A69C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122-4124-B857-71E648D4EED5}"/>
              </c:ext>
            </c:extLst>
          </c:dPt>
          <c:dLbls>
            <c:dLbl>
              <c:idx val="0"/>
              <c:layout>
                <c:manualLayout>
                  <c:x val="6.7340067340066513E-3"/>
                  <c:y val="-3.367004259658066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22-4124-B857-71E648D4EED5}"/>
                </c:ext>
              </c:extLst>
            </c:dLbl>
            <c:dLbl>
              <c:idx val="4"/>
              <c:layout>
                <c:manualLayout>
                  <c:x val="4.489337822671074E-3"/>
                  <c:y val="-2.020202555794839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122-4124-B857-71E648D4EE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8:$E$12</c:f>
              <c:strCache>
                <c:ptCount val="5"/>
                <c:pt idx="0">
                  <c:v>Reduced demand and improved energy efficiency</c:v>
                </c:pt>
                <c:pt idx="1">
                  <c:v>Direct use of clean electricity - with electricity predominantly produced from renewable sources</c:v>
                </c:pt>
                <c:pt idx="2">
                  <c:v>Direct use of renewable heat and biomass - including solar thermal, geothermal, biofuels &amp; bio-feedstocks</c:v>
                </c:pt>
                <c:pt idx="3">
                  <c:v>Indirect use of clean electricity via synthetic fuels &amp; feedstocks - predominantly using renewable electricity</c:v>
                </c:pt>
                <c:pt idx="4">
                  <c:v>Use of carbon dioxide removal measures - including carbon capture, utilisation and storage (CCUS)</c:v>
                </c:pt>
              </c:strCache>
            </c:strRef>
          </c:cat>
          <c:val>
            <c:numRef>
              <c:f>Sheet1!$F$8:$F$12</c:f>
              <c:numCache>
                <c:formatCode>General</c:formatCode>
                <c:ptCount val="5"/>
                <c:pt idx="0">
                  <c:v>28</c:v>
                </c:pt>
                <c:pt idx="1">
                  <c:v>46</c:v>
                </c:pt>
                <c:pt idx="2">
                  <c:v>10</c:v>
                </c:pt>
                <c:pt idx="3">
                  <c:v>10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22-4124-B857-71E648D4EED5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308</cdr:x>
      <cdr:y>0.24414</cdr:y>
    </cdr:from>
    <cdr:to>
      <cdr:x>0.8479</cdr:x>
      <cdr:y>0.37638</cdr:y>
    </cdr:to>
    <cdr:pic>
      <cdr:nvPicPr>
        <cdr:cNvPr id="5" name="Picture 4">
          <a:extLst xmlns:a="http://schemas.openxmlformats.org/drawingml/2006/main">
            <a:ext uri="{FF2B5EF4-FFF2-40B4-BE49-F238E27FC236}">
              <a16:creationId xmlns:a16="http://schemas.microsoft.com/office/drawing/2014/main" id="{CED1E0D7-F39D-46D7-BCA7-3A050D628870}"/>
            </a:ext>
          </a:extLst>
        </cdr:cNvPr>
        <cdr:cNvPicPr>
          <a:picLocks xmlns:a="http://schemas.openxmlformats.org/drawingml/2006/main" noChangeAspect="1"/>
        </cdr:cNvPicPr>
      </cdr:nvPicPr>
      <cdr:blipFill rotWithShape="1">
        <a:blip xmlns:a="http://schemas.openxmlformats.org/drawingml/2006/main" xmlns:r="http://schemas.openxmlformats.org/officeDocument/2006/relationships" r:embed="rId1"/>
        <a:srcRect xmlns:a="http://schemas.openxmlformats.org/drawingml/2006/main" l="1220" t="10611" r="94870" b="42291"/>
        <a:stretch xmlns:a="http://schemas.openxmlformats.org/drawingml/2006/main"/>
      </cdr:blipFill>
      <cdr:spPr>
        <a:xfrm xmlns:a="http://schemas.openxmlformats.org/drawingml/2006/main">
          <a:off x="4820653" y="893894"/>
          <a:ext cx="466531" cy="484188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193F93B-08FC-0340-B3BC-8D21CE7B42B6}" type="datetimeFigureOut">
              <a:rPr lang="en-AE" smtClean="0"/>
              <a:t>11/10/2021</a:t>
            </a:fld>
            <a:endParaRPr lang="en-A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A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4"/>
            <a:ext cx="7437120" cy="276034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A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0A35C5E-4432-9842-9A51-9913977BD8E7}" type="slidenum">
              <a:rPr lang="en-AE" smtClean="0"/>
              <a:t>‹#›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1524942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9D018E-AC63-4AA5-85D6-94D8C9B4E534}" type="slidenum">
              <a:rPr lang="de-DE" altLang="en-US" smtClean="0"/>
              <a:pPr>
                <a:defRPr/>
              </a:pPr>
              <a:t>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938933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2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76499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A35C5E-4432-9842-9A51-9913977BD8E7}" type="slidenum">
              <a:rPr lang="en-AE" smtClean="0"/>
              <a:t>3</a:t>
            </a:fld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302784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b="1" kern="1200" dirty="0">
              <a:solidFill>
                <a:schemeClr val="tx1"/>
              </a:solidFill>
              <a:effectLst/>
              <a:latin typeface="Arial" charset="0"/>
              <a:ea typeface="MS PGothic" panose="020B0600070205080204" pitchFamily="34" charset="-128"/>
              <a:cs typeface="Arial" charset="0"/>
            </a:endParaRPr>
          </a:p>
          <a:p>
            <a:endParaRPr lang="en-US" sz="1300" b="1" kern="1200" dirty="0">
              <a:solidFill>
                <a:schemeClr val="tx1"/>
              </a:solidFill>
              <a:effectLst/>
              <a:latin typeface="Arial" charset="0"/>
              <a:ea typeface="MS PGothic" panose="020B0600070205080204" pitchFamily="34" charset="-128"/>
              <a:cs typeface="Arial" charset="0"/>
            </a:endParaRPr>
          </a:p>
          <a:p>
            <a:endParaRPr lang="en-US" sz="1300" b="1" kern="1200" dirty="0">
              <a:solidFill>
                <a:schemeClr val="tx1"/>
              </a:solidFill>
              <a:effectLst/>
              <a:latin typeface="Arial" charset="0"/>
              <a:ea typeface="MS PGothic" panose="020B0600070205080204" pitchFamily="34" charset="-128"/>
              <a:cs typeface="Arial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43F916-57B6-4DED-9CAC-C8813DF5D6DC}" type="slidenum">
              <a:rPr lang="de-DE" altLang="en-US" smtClean="0"/>
              <a:pPr>
                <a:defRPr/>
              </a:pPr>
              <a:t>4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1900994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EB43F916-57B6-4DED-9CAC-C8813DF5D6DC}" type="slidenum">
              <a:rPr lang="de-DE" alt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</a:t>
            </a:fld>
            <a:endParaRPr lang="de-DE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22298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" name="Google Shape;614;gafe2d0a82f_0_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5" name="Google Shape;615;gafe2d0a82f_0_9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0" algn="just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SzPts val="1100"/>
              <a:buNone/>
            </a:pPr>
            <a:endParaRPr sz="1400">
              <a:solidFill>
                <a:schemeClr val="dk1"/>
              </a:solidFill>
            </a:endParaRPr>
          </a:p>
        </p:txBody>
      </p:sp>
      <p:sp>
        <p:nvSpPr>
          <p:cNvPr id="616" name="Google Shape;616;gafe2d0a82f_0_9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fld id="{00000000-1234-1234-1234-123412341234}" type="slidenum">
              <a:rPr lang="en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8221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 Image Placeholder 1">
            <a:extLst>
              <a:ext uri="{FF2B5EF4-FFF2-40B4-BE49-F238E27FC236}">
                <a16:creationId xmlns:a16="http://schemas.microsoft.com/office/drawing/2014/main" id="{88331777-7E02-4021-868F-D5F692D32FD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00300" y="1103313"/>
            <a:ext cx="4752975" cy="2674937"/>
          </a:xfrm>
          <a:ln/>
        </p:spPr>
      </p:sp>
      <p:sp>
        <p:nvSpPr>
          <p:cNvPr id="122883" name="Notes Placeholder 2">
            <a:extLst>
              <a:ext uri="{FF2B5EF4-FFF2-40B4-BE49-F238E27FC236}">
                <a16:creationId xmlns:a16="http://schemas.microsoft.com/office/drawing/2014/main" id="{6DE96645-8278-4115-88AB-CE7F6863F56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443" y="3972560"/>
            <a:ext cx="8514322" cy="319640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GB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884" name="Slide Number Placeholder 3">
            <a:extLst>
              <a:ext uri="{FF2B5EF4-FFF2-40B4-BE49-F238E27FC236}">
                <a16:creationId xmlns:a16="http://schemas.microsoft.com/office/drawing/2014/main" id="{0A7334E6-E806-4B41-965A-126C6DC5C58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8736B3-A0AA-4543-9869-2C25BC5CADAE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5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E2358EF-C452-6D42-9AE2-2CAE6F8203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5292" y="6350534"/>
            <a:ext cx="4034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E1258401-23C6-2149-BDD6-E20CBEDE97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92EF59-F5D7-6F47-B871-563DB979DC53}"/>
              </a:ext>
            </a:extLst>
          </p:cNvPr>
          <p:cNvCxnSpPr/>
          <p:nvPr userDrawn="1"/>
        </p:nvCxnSpPr>
        <p:spPr>
          <a:xfrm>
            <a:off x="334963" y="885032"/>
            <a:ext cx="11522074" cy="0"/>
          </a:xfrm>
          <a:prstGeom prst="line">
            <a:avLst/>
          </a:prstGeom>
          <a:ln w="28575">
            <a:solidFill>
              <a:srgbClr val="0061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794E098-BE3D-0544-9CF5-6EC3FADF8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902" y="165474"/>
            <a:ext cx="10319637" cy="836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E7B44ADF-CA07-494B-9758-B7F29649FE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8864" y="430781"/>
            <a:ext cx="1208173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717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371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T Pink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210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555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816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userDrawn="1">
  <p:cSld name="1_Two Conten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9782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10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2AF4FA-E774-43E2-A400-9B0A9BE32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13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2AF4FA-E774-43E2-A400-9B0A9BE32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057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97" r:id="rId2"/>
    <p:sldLayoutId id="2147485498" r:id="rId3"/>
    <p:sldLayoutId id="2147485499" r:id="rId4"/>
    <p:sldLayoutId id="2147485500" r:id="rId5"/>
    <p:sldLayoutId id="2147485501" r:id="rId6"/>
    <p:sldLayoutId id="214748550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006192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chart" Target="../charts/char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8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5" Type="http://schemas.openxmlformats.org/officeDocument/2006/relationships/image" Target="../media/image2.png"/><Relationship Id="rId10" Type="http://schemas.openxmlformats.org/officeDocument/2006/relationships/image" Target="../media/image26.png"/><Relationship Id="rId4" Type="http://schemas.openxmlformats.org/officeDocument/2006/relationships/image" Target="../media/image20.emf"/><Relationship Id="rId9" Type="http://schemas.openxmlformats.org/officeDocument/2006/relationships/image" Target="../media/image25.jpeg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F7CED801-D091-3249-B1E4-F824981A121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11000"/>
                    </a14:imgEffect>
                    <a14:imgEffect>
                      <a14:colorTemperature colorTemp="8639"/>
                    </a14:imgEffect>
                    <a14:imgEffect>
                      <a14:saturation sat="400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</a:extLst>
          </a:blip>
          <a:srcRect l="14982" r="-63" b="19372"/>
          <a:stretch/>
        </p:blipFill>
        <p:spPr>
          <a:xfrm>
            <a:off x="-3333" y="0"/>
            <a:ext cx="12203409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DDD345-B51D-4E40-87CA-81DB2BAD99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890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DDD345-B51D-4E40-87CA-81DB2BAD9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ADF6E83F-1DD4-43C0-A144-CC79C3B10693}"/>
              </a:ext>
            </a:extLst>
          </p:cNvPr>
          <p:cNvSpPr txBox="1">
            <a:spLocks/>
          </p:cNvSpPr>
          <p:nvPr/>
        </p:nvSpPr>
        <p:spPr bwMode="auto">
          <a:xfrm>
            <a:off x="0" y="5866398"/>
            <a:ext cx="12192000" cy="36933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0" tIns="0" rIns="0" bIns="0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685800">
              <a:defRPr/>
            </a:pP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1</a:t>
            </a:r>
            <a:r>
              <a:rPr lang="en-US" sz="2000" b="1" baseline="30000" dirty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th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EA IEF OPEC Symposium on Energy Outlooks</a:t>
            </a:r>
            <a:r>
              <a:rPr lang="en-US" sz="1100" b="1" dirty="0">
                <a:solidFill>
                  <a:schemeClr val="bg1"/>
                </a:solidFill>
                <a:latin typeface="Arial"/>
                <a:ea typeface="Tahoma" panose="020B0604030504040204" pitchFamily="34" charset="0"/>
                <a:cs typeface="Arial"/>
                <a:sym typeface="Arial"/>
              </a:rPr>
              <a:t> </a:t>
            </a:r>
            <a:r>
              <a:rPr lang="en-AE" dirty="0">
                <a:solidFill>
                  <a:schemeClr val="bg1"/>
                </a:solidFill>
              </a:rPr>
              <a:t>•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7 February 2021 </a:t>
            </a:r>
          </a:p>
        </p:txBody>
      </p:sp>
      <p:sp>
        <p:nvSpPr>
          <p:cNvPr id="6" name="Google Shape;102;p29"/>
          <p:cNvSpPr txBox="1"/>
          <p:nvPr/>
        </p:nvSpPr>
        <p:spPr>
          <a:xfrm>
            <a:off x="-3333" y="1682794"/>
            <a:ext cx="12192000" cy="1617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algn="ctr">
              <a:buClr>
                <a:srgbClr val="000000"/>
              </a:buClr>
              <a:buSzPts val="3000"/>
            </a:pPr>
            <a:r>
              <a:rPr lang="en-GB" sz="4800" b="1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Transforming the Energy System</a:t>
            </a:r>
          </a:p>
          <a:p>
            <a:pPr algn="ctr">
              <a:buClr>
                <a:srgbClr val="000000"/>
              </a:buClr>
              <a:buSzPts val="3000"/>
            </a:pPr>
            <a:r>
              <a:rPr lang="en-GB" sz="4800" dirty="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A Roadmap to 2050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C21CF2-CF69-A04D-BFB1-7EA0AEC73149}"/>
              </a:ext>
            </a:extLst>
          </p:cNvPr>
          <p:cNvSpPr/>
          <p:nvPr/>
        </p:nvSpPr>
        <p:spPr>
          <a:xfrm>
            <a:off x="8076" y="3476697"/>
            <a:ext cx="12192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SzPts val="3000"/>
            </a:pPr>
            <a:r>
              <a:rPr lang="en-US" sz="3200" b="1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Francesco La Camera</a:t>
            </a:r>
          </a:p>
          <a:p>
            <a:pPr algn="ctr">
              <a:buClr>
                <a:srgbClr val="000000"/>
              </a:buClr>
              <a:buSzPts val="3000"/>
            </a:pPr>
            <a:r>
              <a:rPr lang="en-US" sz="2800" b="1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IRENA Director-General</a:t>
            </a:r>
          </a:p>
        </p:txBody>
      </p:sp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8E2BC8C4-F10A-1A4D-A34E-A18137E683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86091" y="455010"/>
            <a:ext cx="3019817" cy="763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63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B42FF3C-F303-4FC2-BAE4-C7A81CBCDF28}"/>
              </a:ext>
            </a:extLst>
          </p:cNvPr>
          <p:cNvSpPr/>
          <p:nvPr/>
        </p:nvSpPr>
        <p:spPr>
          <a:xfrm>
            <a:off x="264103" y="355245"/>
            <a:ext cx="101752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IRENA energy transition pathways provide options to cut energy-related CO</a:t>
            </a:r>
            <a:r>
              <a:rPr kumimoji="0" lang="en-US" sz="2000" b="1" i="0" u="none" strike="noStrike" kern="1200" cap="none" spc="0" normalizeH="0" baseline="-2500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  <a:sym typeface="Calibri"/>
              </a:rPr>
              <a:t> emissions to 2050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6192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905BB2-1B32-46D2-BCFD-49D8B397AC3E}"/>
              </a:ext>
            </a:extLst>
          </p:cNvPr>
          <p:cNvSpPr/>
          <p:nvPr/>
        </p:nvSpPr>
        <p:spPr>
          <a:xfrm>
            <a:off x="394759" y="5960209"/>
            <a:ext cx="108672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ergy efficiency, renewables, end-use electrification, green hydrogen and synthetic fuels will play a crucial role in global decarbonisation.</a:t>
            </a:r>
          </a:p>
        </p:txBody>
      </p:sp>
      <p:pic>
        <p:nvPicPr>
          <p:cNvPr id="3" name="Picture 2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1BDAB8AD-3BD5-5F42-84F8-09C614042B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46"/>
          <a:stretch/>
        </p:blipFill>
        <p:spPr>
          <a:xfrm>
            <a:off x="1" y="1527585"/>
            <a:ext cx="9882554" cy="4159881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020C966-A775-49D7-A3AB-356DC4D64D35}"/>
              </a:ext>
            </a:extLst>
          </p:cNvPr>
          <p:cNvSpPr txBox="1">
            <a:spLocks/>
          </p:cNvSpPr>
          <p:nvPr/>
        </p:nvSpPr>
        <p:spPr>
          <a:xfrm>
            <a:off x="10766612" y="6551612"/>
            <a:ext cx="1252817" cy="30638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511175" indent="-53975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022350" indent="-10795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535113" indent="-163513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46288" indent="-217488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132D56-794B-46AE-BF90-F608864D8FA8}" type="slidenum">
              <a:rPr kumimoji="0" lang="de-DE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en-US" sz="11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D60A54-EDE1-44EE-987C-3D2E4F12D636}"/>
              </a:ext>
            </a:extLst>
          </p:cNvPr>
          <p:cNvSpPr txBox="1"/>
          <p:nvPr/>
        </p:nvSpPr>
        <p:spPr>
          <a:xfrm>
            <a:off x="8529928" y="5422009"/>
            <a:ext cx="12191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ource: IREN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A19A1B-6EEC-4313-AA8B-2228B88C18F6}"/>
              </a:ext>
            </a:extLst>
          </p:cNvPr>
          <p:cNvSpPr txBox="1"/>
          <p:nvPr/>
        </p:nvSpPr>
        <p:spPr>
          <a:xfrm>
            <a:off x="200940" y="3151510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 degre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B66A67-8929-47CA-906E-069906948BFD}"/>
              </a:ext>
            </a:extLst>
          </p:cNvPr>
          <p:cNvSpPr txBox="1"/>
          <p:nvPr/>
        </p:nvSpPr>
        <p:spPr>
          <a:xfrm>
            <a:off x="200940" y="4049680"/>
            <a:ext cx="12682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19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5 degre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0C00B57-886A-49D1-ACD6-F271ED113E96}"/>
              </a:ext>
            </a:extLst>
          </p:cNvPr>
          <p:cNvSpPr/>
          <p:nvPr/>
        </p:nvSpPr>
        <p:spPr>
          <a:xfrm>
            <a:off x="8213969" y="3695252"/>
            <a:ext cx="1000369" cy="400529"/>
          </a:xfrm>
          <a:prstGeom prst="roundRect">
            <a:avLst/>
          </a:prstGeom>
          <a:noFill/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0D414C6-8DC2-4EBF-AD88-60EB8A6F13C0}"/>
              </a:ext>
            </a:extLst>
          </p:cNvPr>
          <p:cNvSpPr/>
          <p:nvPr/>
        </p:nvSpPr>
        <p:spPr>
          <a:xfrm>
            <a:off x="8844871" y="3730296"/>
            <a:ext cx="216796" cy="307777"/>
          </a:xfrm>
          <a:prstGeom prst="rect">
            <a:avLst/>
          </a:prstGeom>
          <a:solidFill>
            <a:srgbClr val="585BA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92CF9D-F453-4EB7-BE5F-A98AC550AC66}"/>
              </a:ext>
            </a:extLst>
          </p:cNvPr>
          <p:cNvSpPr txBox="1"/>
          <p:nvPr/>
        </p:nvSpPr>
        <p:spPr>
          <a:xfrm>
            <a:off x="8408533" y="4080392"/>
            <a:ext cx="4363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</a:t>
            </a:r>
            <a:r>
              <a:rPr kumimoji="0" lang="en-US" sz="18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7119" y="1615264"/>
            <a:ext cx="1741540" cy="246512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749327" y="1144391"/>
            <a:ext cx="9326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/>
              <a:t>Energy and industrial process-related CO2 emission reductions (Gt CO</a:t>
            </a:r>
            <a:r>
              <a:rPr lang="en-GB" b="1" baseline="-25000"/>
              <a:t>2</a:t>
            </a:r>
            <a:r>
              <a:rPr lang="en-GB" b="1"/>
              <a:t>/y by 2050)</a:t>
            </a:r>
          </a:p>
        </p:txBody>
      </p:sp>
    </p:spTree>
    <p:extLst>
      <p:ext uri="{BB962C8B-B14F-4D97-AF65-F5344CB8AC3E}">
        <p14:creationId xmlns:p14="http://schemas.microsoft.com/office/powerpoint/2010/main" val="3950515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3E3AF3C5-B6AC-47C4-BE33-C7A0C23C6009}"/>
              </a:ext>
            </a:extLst>
          </p:cNvPr>
          <p:cNvGraphicFramePr>
            <a:graphicFrameLocks/>
          </p:cNvGraphicFramePr>
          <p:nvPr/>
        </p:nvGraphicFramePr>
        <p:xfrm>
          <a:off x="6580648" y="2051026"/>
          <a:ext cx="6235647" cy="3661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DF1023DF-B588-4B16-AFFA-5DAFB822FE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269" t="15006" r="74742" b="37401"/>
          <a:stretch/>
        </p:blipFill>
        <p:spPr>
          <a:xfrm>
            <a:off x="11147074" y="5467848"/>
            <a:ext cx="475861" cy="48927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ADBD007-8A19-4BDE-82DD-EB6D6D37D9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62" t="13404" r="54936" b="40428"/>
          <a:stretch/>
        </p:blipFill>
        <p:spPr>
          <a:xfrm>
            <a:off x="9014463" y="5599599"/>
            <a:ext cx="513184" cy="47462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37B0F22-2A68-4A66-B01A-DF9FB904396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132" t="7752" r="34722" b="36285"/>
          <a:stretch/>
        </p:blipFill>
        <p:spPr>
          <a:xfrm>
            <a:off x="8121442" y="4617057"/>
            <a:ext cx="494523" cy="57532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123E95D-9BFC-433C-9D3A-0766864A30A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1025" t="7746" r="14673" b="33260"/>
          <a:stretch/>
        </p:blipFill>
        <p:spPr>
          <a:xfrm>
            <a:off x="8603281" y="2680645"/>
            <a:ext cx="513183" cy="60649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11BBB6F-FE75-4346-BF0A-A990A35F585E}"/>
              </a:ext>
            </a:extLst>
          </p:cNvPr>
          <p:cNvSpPr txBox="1">
            <a:spLocks/>
          </p:cNvSpPr>
          <p:nvPr/>
        </p:nvSpPr>
        <p:spPr>
          <a:xfrm>
            <a:off x="269876" y="333967"/>
            <a:ext cx="11229975" cy="535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872A6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2400" dirty="0">
                <a:solidFill>
                  <a:srgbClr val="006192"/>
                </a:solidFill>
                <a:ea typeface="MS PGothic" panose="020B0600070205080204" pitchFamily="34" charset="-128"/>
              </a:rPr>
              <a:t>Emission reductions from baseline emissions in 2050 to ZERO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BEF6EDB-DF55-4CDC-B932-47522BFA3CC8}"/>
              </a:ext>
            </a:extLst>
          </p:cNvPr>
          <p:cNvGraphicFramePr>
            <a:graphicFrameLocks/>
          </p:cNvGraphicFramePr>
          <p:nvPr/>
        </p:nvGraphicFramePr>
        <p:xfrm>
          <a:off x="1264185" y="2621286"/>
          <a:ext cx="6516945" cy="402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D424EF4-09DE-4168-9987-0E2FC9DD3C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1025" t="7746" r="14673" b="33260"/>
          <a:stretch/>
        </p:blipFill>
        <p:spPr>
          <a:xfrm>
            <a:off x="2670126" y="1779759"/>
            <a:ext cx="513183" cy="6064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C07A06A-8AE0-4460-9377-D0A812B6784D}"/>
              </a:ext>
            </a:extLst>
          </p:cNvPr>
          <p:cNvSpPr txBox="1"/>
          <p:nvPr/>
        </p:nvSpPr>
        <p:spPr>
          <a:xfrm>
            <a:off x="6245094" y="3063376"/>
            <a:ext cx="172616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/>
              <a:t>Reduced demand and improved energy efficiency</a:t>
            </a:r>
            <a:endParaRPr lang="en-GB" sz="17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9A7742-68D8-475F-9298-C57D6104FDE6}"/>
              </a:ext>
            </a:extLst>
          </p:cNvPr>
          <p:cNvSpPr txBox="1"/>
          <p:nvPr/>
        </p:nvSpPr>
        <p:spPr>
          <a:xfrm>
            <a:off x="-30068" y="5907981"/>
            <a:ext cx="339762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/>
              <a:t>Direct use of clean, predominantly renewable, electricity</a:t>
            </a:r>
            <a:endParaRPr lang="en-GB" sz="17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F82F89-30A2-40DB-85D9-7A117E483466}"/>
              </a:ext>
            </a:extLst>
          </p:cNvPr>
          <p:cNvSpPr txBox="1"/>
          <p:nvPr/>
        </p:nvSpPr>
        <p:spPr>
          <a:xfrm>
            <a:off x="526468" y="3749738"/>
            <a:ext cx="172616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/>
              <a:t>Direct use of renewable heat and biomass</a:t>
            </a:r>
            <a:endParaRPr lang="en-GB" sz="17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A2D60D-CBBA-418A-AEEF-F6531BA5075B}"/>
              </a:ext>
            </a:extLst>
          </p:cNvPr>
          <p:cNvSpPr txBox="1"/>
          <p:nvPr/>
        </p:nvSpPr>
        <p:spPr>
          <a:xfrm>
            <a:off x="1250609" y="2206184"/>
            <a:ext cx="172616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/>
              <a:t>Green hydrogen and synthetic fuels</a:t>
            </a:r>
            <a:endParaRPr lang="en-GB" sz="17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ABDD65-27CA-4797-B6FC-D93E9817A4D8}"/>
              </a:ext>
            </a:extLst>
          </p:cNvPr>
          <p:cNvSpPr txBox="1"/>
          <p:nvPr/>
        </p:nvSpPr>
        <p:spPr>
          <a:xfrm>
            <a:off x="3202399" y="1646512"/>
            <a:ext cx="21449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/>
              <a:t>Use of carbon dioxide removal measures</a:t>
            </a:r>
            <a:endParaRPr lang="en-GB" sz="17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EDB2180-D4A2-4288-9441-B7FBCB0A38F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132" t="7752" r="34722" b="36285"/>
          <a:stretch/>
        </p:blipFill>
        <p:spPr>
          <a:xfrm>
            <a:off x="719771" y="2326693"/>
            <a:ext cx="494523" cy="5753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7CD920E-9AEB-4902-9AA1-AB6A635C27B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62" t="13404" r="54936" b="40428"/>
          <a:stretch/>
        </p:blipFill>
        <p:spPr>
          <a:xfrm>
            <a:off x="13284" y="3881756"/>
            <a:ext cx="513184" cy="47462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7A3ADE9-75A4-4697-92FF-8783AB3007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269" t="15006" r="74742" b="37401"/>
          <a:stretch/>
        </p:blipFill>
        <p:spPr>
          <a:xfrm>
            <a:off x="1875760" y="5484225"/>
            <a:ext cx="475861" cy="4892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ED1E0D7-F39D-46D7-BCA7-3A050D62887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0" t="10611" r="94870" b="42291"/>
          <a:stretch/>
        </p:blipFill>
        <p:spPr>
          <a:xfrm>
            <a:off x="5707390" y="2737156"/>
            <a:ext cx="466531" cy="484188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464E58D9-C46F-4637-8C4F-BA077689D068}"/>
              </a:ext>
            </a:extLst>
          </p:cNvPr>
          <p:cNvSpPr txBox="1">
            <a:spLocks/>
          </p:cNvSpPr>
          <p:nvPr/>
        </p:nvSpPr>
        <p:spPr>
          <a:xfrm>
            <a:off x="10920536" y="6440594"/>
            <a:ext cx="958850" cy="30638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511175" indent="-53975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022350" indent="-10795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535113" indent="-163513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46288" indent="-217488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32F9E5B7-4002-416B-BEDC-CDC0E72DBF0D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68B89F-EAD7-41D3-9E3E-832A5B6E9215}"/>
              </a:ext>
            </a:extLst>
          </p:cNvPr>
          <p:cNvSpPr txBox="1"/>
          <p:nvPr/>
        </p:nvSpPr>
        <p:spPr>
          <a:xfrm>
            <a:off x="3492462" y="4356384"/>
            <a:ext cx="1726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46.5 Gt</a:t>
            </a:r>
            <a:endParaRPr lang="en-GB" sz="2800" b="1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AF37451-B669-4743-93FD-965D9011845C}"/>
              </a:ext>
            </a:extLst>
          </p:cNvPr>
          <p:cNvCxnSpPr>
            <a:cxnSpLocks/>
          </p:cNvCxnSpPr>
          <p:nvPr/>
        </p:nvCxnSpPr>
        <p:spPr>
          <a:xfrm>
            <a:off x="7781130" y="2979250"/>
            <a:ext cx="0" cy="36145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56D37D6-C70D-461A-B759-B4A7B8F0E13E}"/>
              </a:ext>
            </a:extLst>
          </p:cNvPr>
          <p:cNvSpPr/>
          <p:nvPr/>
        </p:nvSpPr>
        <p:spPr>
          <a:xfrm>
            <a:off x="3116576" y="1062076"/>
            <a:ext cx="21020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2000" b="1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rgbClr val="000000">
                    <a:lumMod val="65000"/>
                    <a:lumOff val="35000"/>
                  </a:srgbClr>
                </a:solidFill>
              </a:rPr>
              <a:t>Total emission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B71DFFA-1E0F-4A92-BBE0-90869055B6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8176" y="1053812"/>
            <a:ext cx="1278082" cy="17745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012206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6B3A0AE-D9CB-4034-BB19-50D5449617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75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6B3A0AE-D9CB-4034-BB19-50D544961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59C6DC-4362-4830-ABE5-320407A9D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4C132D56-794B-46AE-BF90-F608864D8FA8}" type="slidenum">
              <a:rPr lang="de-DE" altLang="en-US" smtClean="0"/>
              <a:pPr>
                <a:defRPr/>
              </a:pPr>
              <a:t>4</a:t>
            </a:fld>
            <a:endParaRPr lang="de-DE" alt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B1E36D-C1EE-4946-A3EE-E3BD36F0FCA0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>
            <a:noAutofit/>
          </a:bodyPr>
          <a:lstStyle/>
          <a:p>
            <a:r>
              <a:rPr lang="en-US" sz="2400" kern="12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reen Hydrogen as game changer developing green H</a:t>
            </a:r>
            <a:r>
              <a:rPr lang="en-US" sz="2400" kern="1200" baseline="-25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lang="en-US" sz="2400" kern="12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conomi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4C03DF2-49B0-4987-938B-3091DFB60A2B}"/>
              </a:ext>
            </a:extLst>
          </p:cNvPr>
          <p:cNvGrpSpPr/>
          <p:nvPr/>
        </p:nvGrpSpPr>
        <p:grpSpPr>
          <a:xfrm>
            <a:off x="5458841" y="985901"/>
            <a:ext cx="6748869" cy="5860245"/>
            <a:chOff x="259015" y="997755"/>
            <a:chExt cx="6748869" cy="586024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266F1A6-6542-48A4-9E71-F9EC5089ED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1911" b="1574"/>
            <a:stretch/>
          </p:blipFill>
          <p:spPr>
            <a:xfrm>
              <a:off x="528262" y="997755"/>
              <a:ext cx="4191951" cy="5860245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3A5EFCC-9339-4968-BDEE-F431A76DB30A}"/>
                </a:ext>
              </a:extLst>
            </p:cNvPr>
            <p:cNvSpPr txBox="1"/>
            <p:nvPr/>
          </p:nvSpPr>
          <p:spPr>
            <a:xfrm>
              <a:off x="259015" y="997755"/>
              <a:ext cx="147166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err="1">
                  <a:latin typeface="Calibri" panose="020F0502020204030204" pitchFamily="34" charset="0"/>
                  <a:cs typeface="Calibri" panose="020F0502020204030204" pitchFamily="34" charset="0"/>
                </a:rPr>
                <a:t>EJ</a:t>
              </a:r>
              <a:endParaRPr lang="en-US" sz="20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4E74FC-8A56-4836-88E6-A4402155204B}"/>
                </a:ext>
              </a:extLst>
            </p:cNvPr>
            <p:cNvSpPr txBox="1"/>
            <p:nvPr/>
          </p:nvSpPr>
          <p:spPr>
            <a:xfrm>
              <a:off x="2291861" y="4656426"/>
              <a:ext cx="109024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latin typeface="Calibri" panose="020F0502020204030204" pitchFamily="34" charset="0"/>
                  <a:cs typeface="Calibri" panose="020F0502020204030204" pitchFamily="34" charset="0"/>
                </a:rPr>
                <a:t>Fossil without CCS</a:t>
              </a:r>
            </a:p>
          </p:txBody>
        </p:sp>
        <p:sp>
          <p:nvSpPr>
            <p:cNvPr id="15" name="Right Brace 14">
              <a:extLst>
                <a:ext uri="{FF2B5EF4-FFF2-40B4-BE49-F238E27FC236}">
                  <a16:creationId xmlns:a16="http://schemas.microsoft.com/office/drawing/2014/main" id="{530A7934-226D-43BC-844B-9D9215E8EC78}"/>
                </a:ext>
              </a:extLst>
            </p:cNvPr>
            <p:cNvSpPr/>
            <p:nvPr/>
          </p:nvSpPr>
          <p:spPr>
            <a:xfrm>
              <a:off x="2227385" y="3963070"/>
              <a:ext cx="128953" cy="175176"/>
            </a:xfrm>
            <a:prstGeom prst="rightBrac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97458E5-CDFB-4B18-A60A-922182092466}"/>
                </a:ext>
              </a:extLst>
            </p:cNvPr>
            <p:cNvSpPr txBox="1"/>
            <p:nvPr/>
          </p:nvSpPr>
          <p:spPr>
            <a:xfrm>
              <a:off x="2356338" y="3861202"/>
              <a:ext cx="1219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latin typeface="Calibri" panose="020F0502020204030204" pitchFamily="34" charset="0"/>
                  <a:cs typeface="Calibri" panose="020F0502020204030204" pitchFamily="34" charset="0"/>
                </a:rPr>
                <a:t>Electrolysis</a:t>
              </a:r>
            </a:p>
          </p:txBody>
        </p:sp>
        <p:sp>
          <p:nvSpPr>
            <p:cNvPr id="18" name="Right Brace 17">
              <a:extLst>
                <a:ext uri="{FF2B5EF4-FFF2-40B4-BE49-F238E27FC236}">
                  <a16:creationId xmlns:a16="http://schemas.microsoft.com/office/drawing/2014/main" id="{84380073-D5B0-4342-BD55-C45DEDE58132}"/>
                </a:ext>
              </a:extLst>
            </p:cNvPr>
            <p:cNvSpPr/>
            <p:nvPr/>
          </p:nvSpPr>
          <p:spPr>
            <a:xfrm>
              <a:off x="4375256" y="1560843"/>
              <a:ext cx="466377" cy="3017205"/>
            </a:xfrm>
            <a:prstGeom prst="rightBrac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92D2C13-8B07-4392-8313-72097035E7D6}"/>
                </a:ext>
              </a:extLst>
            </p:cNvPr>
            <p:cNvSpPr txBox="1"/>
            <p:nvPr/>
          </p:nvSpPr>
          <p:spPr>
            <a:xfrm>
              <a:off x="4871737" y="2777057"/>
              <a:ext cx="21361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rgbClr val="00B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een hydrogen:</a:t>
              </a:r>
              <a:r>
                <a:rPr lang="en-US" b="1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>
                  <a:solidFill>
                    <a:srgbClr val="00B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ectrolysis</a:t>
              </a:r>
            </a:p>
            <a:p>
              <a:r>
                <a:rPr lang="en-US" b="1">
                  <a:solidFill>
                    <a:srgbClr val="00B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ith RE power</a:t>
              </a:r>
            </a:p>
          </p:txBody>
        </p:sp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2F8791AE-7B21-4BC8-B0D3-64A042FB61B5}"/>
                </a:ext>
              </a:extLst>
            </p:cNvPr>
            <p:cNvSpPr/>
            <p:nvPr/>
          </p:nvSpPr>
          <p:spPr>
            <a:xfrm>
              <a:off x="4397028" y="4656426"/>
              <a:ext cx="384316" cy="1635516"/>
            </a:xfrm>
            <a:prstGeom prst="rightBrace">
              <a:avLst/>
            </a:prstGeom>
            <a:ln w="349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D312A20-C9BB-47E1-BA8A-8880D8496660}"/>
                </a:ext>
              </a:extLst>
            </p:cNvPr>
            <p:cNvSpPr txBox="1"/>
            <p:nvPr/>
          </p:nvSpPr>
          <p:spPr>
            <a:xfrm>
              <a:off x="4759572" y="4892208"/>
              <a:ext cx="203981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latin typeface="Calibri" panose="020F0502020204030204" pitchFamily="34" charset="0"/>
                  <a:cs typeface="Calibri" panose="020F0502020204030204" pitchFamily="34" charset="0"/>
                </a:rPr>
                <a:t>Non-RE source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Blue hydrogen: fossil with CC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b="1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lectrolysis with non-RE power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AC5AF88-206D-4995-A047-FDBA572C4F7C}"/>
              </a:ext>
            </a:extLst>
          </p:cNvPr>
          <p:cNvGrpSpPr/>
          <p:nvPr/>
        </p:nvGrpSpPr>
        <p:grpSpPr>
          <a:xfrm>
            <a:off x="174933" y="3047705"/>
            <a:ext cx="6755571" cy="3292068"/>
            <a:chOff x="6376263" y="6986760"/>
            <a:chExt cx="8310893" cy="383939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FD0A7FB-0339-4A37-AAA1-1DB5ED48F43B}"/>
                </a:ext>
              </a:extLst>
            </p:cNvPr>
            <p:cNvSpPr txBox="1"/>
            <p:nvPr/>
          </p:nvSpPr>
          <p:spPr>
            <a:xfrm>
              <a:off x="6376263" y="6986760"/>
              <a:ext cx="2899297" cy="681998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r"/>
              <a:r>
                <a:rPr lang="en-US" sz="3200" b="1">
                  <a:solidFill>
                    <a:schemeClr val="tx2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Today</a:t>
              </a:r>
            </a:p>
          </p:txBody>
        </p:sp>
        <p:sp>
          <p:nvSpPr>
            <p:cNvPr id="27" name="Subtitle 2">
              <a:extLst>
                <a:ext uri="{FF2B5EF4-FFF2-40B4-BE49-F238E27FC236}">
                  <a16:creationId xmlns:a16="http://schemas.microsoft.com/office/drawing/2014/main" id="{0CD63278-6F53-4D82-9842-054E73F0BD7E}"/>
                </a:ext>
              </a:extLst>
            </p:cNvPr>
            <p:cNvSpPr txBox="1">
              <a:spLocks/>
            </p:cNvSpPr>
            <p:nvPr/>
          </p:nvSpPr>
          <p:spPr>
            <a:xfrm>
              <a:off x="6525636" y="7601172"/>
              <a:ext cx="4680041" cy="3224986"/>
            </a:xfrm>
            <a:prstGeom prst="rect">
              <a:avLst/>
            </a:prstGeom>
          </p:spPr>
          <p:txBody>
            <a:bodyPr vert="horz" wrap="square" lIns="91440" tIns="45720" rIns="91440" bIns="9144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ts val="4100"/>
                </a:lnSpc>
              </a:pPr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bout 14 EJ hydrogen produced mainly from fossil source - </a:t>
              </a:r>
              <a:r>
                <a:rPr lang="en-US" sz="2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een and blue hydrogen production is negligible (1% green)</a:t>
              </a:r>
              <a:endParaRPr lang="en-US" sz="28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l">
                <a:lnSpc>
                  <a:spcPts val="4100"/>
                </a:lnSpc>
              </a:pPr>
              <a:endParaRPr lang="en-US" sz="2000">
                <a:solidFill>
                  <a:schemeClr val="tx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4430AE6-6409-4D12-9E03-494AA6DD61C0}"/>
                </a:ext>
              </a:extLst>
            </p:cNvPr>
            <p:cNvCxnSpPr>
              <a:cxnSpLocks/>
              <a:stCxn id="26" idx="3"/>
            </p:cNvCxnSpPr>
            <p:nvPr/>
          </p:nvCxnSpPr>
          <p:spPr>
            <a:xfrm>
              <a:off x="9275559" y="7327761"/>
              <a:ext cx="1385210" cy="0"/>
            </a:xfrm>
            <a:prstGeom prst="line">
              <a:avLst/>
            </a:prstGeom>
            <a:ln w="3810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576CCAF-74C1-49A8-8041-2B436A1CC2CB}"/>
                </a:ext>
              </a:extLst>
            </p:cNvPr>
            <p:cNvCxnSpPr>
              <a:cxnSpLocks/>
            </p:cNvCxnSpPr>
            <p:nvPr/>
          </p:nvCxnSpPr>
          <p:spPr>
            <a:xfrm>
              <a:off x="10660768" y="7327761"/>
              <a:ext cx="4026388" cy="2478983"/>
            </a:xfrm>
            <a:prstGeom prst="line">
              <a:avLst/>
            </a:prstGeom>
            <a:ln w="38100" cap="rnd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7AED3E2-8B42-4781-81DD-18F41CA1A720}"/>
              </a:ext>
            </a:extLst>
          </p:cNvPr>
          <p:cNvGrpSpPr/>
          <p:nvPr/>
        </p:nvGrpSpPr>
        <p:grpSpPr>
          <a:xfrm>
            <a:off x="500471" y="1241904"/>
            <a:ext cx="8595904" cy="1928910"/>
            <a:chOff x="6893944" y="6926820"/>
            <a:chExt cx="10574923" cy="224960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FA32A09-9E8B-45B7-BB64-604251918E99}"/>
                </a:ext>
              </a:extLst>
            </p:cNvPr>
            <p:cNvSpPr txBox="1"/>
            <p:nvPr/>
          </p:nvSpPr>
          <p:spPr>
            <a:xfrm>
              <a:off x="7031000" y="6926820"/>
              <a:ext cx="2899297" cy="681998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r"/>
              <a:r>
                <a:rPr lang="en-US" sz="3200" b="1">
                  <a:solidFill>
                    <a:schemeClr val="tx2"/>
                  </a:solidFill>
                  <a:latin typeface="Calibri" panose="020F0502020204030204" pitchFamily="34" charset="0"/>
                  <a:ea typeface="League Spartan" charset="0"/>
                  <a:cs typeface="Calibri" panose="020F0502020204030204" pitchFamily="34" charset="0"/>
                </a:rPr>
                <a:t>In 2050:</a:t>
              </a:r>
            </a:p>
          </p:txBody>
        </p:sp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83C7983C-C88E-4F13-BEA6-F214F4DDCA79}"/>
                </a:ext>
              </a:extLst>
            </p:cNvPr>
            <p:cNvSpPr txBox="1">
              <a:spLocks/>
            </p:cNvSpPr>
            <p:nvPr/>
          </p:nvSpPr>
          <p:spPr>
            <a:xfrm>
              <a:off x="6893944" y="7542771"/>
              <a:ext cx="4997619" cy="1633656"/>
            </a:xfrm>
            <a:prstGeom prst="rect">
              <a:avLst/>
            </a:prstGeom>
          </p:spPr>
          <p:txBody>
            <a:bodyPr vert="horz" wrap="square" lIns="91440" tIns="45720" rIns="91440" bIns="91440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200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wo-thirds of hydrogen produced could come from green hydrogen </a:t>
              </a:r>
            </a:p>
            <a:p>
              <a:pPr algn="l">
                <a:lnSpc>
                  <a:spcPts val="4100"/>
                </a:lnSpc>
              </a:pPr>
              <a:endParaRPr lang="en-US" sz="2000">
                <a:solidFill>
                  <a:schemeClr val="tx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CEDA93A-008E-46D6-94A3-CCF5182C5126}"/>
                </a:ext>
              </a:extLst>
            </p:cNvPr>
            <p:cNvCxnSpPr>
              <a:cxnSpLocks/>
            </p:cNvCxnSpPr>
            <p:nvPr/>
          </p:nvCxnSpPr>
          <p:spPr>
            <a:xfrm>
              <a:off x="9933240" y="7327761"/>
              <a:ext cx="727529" cy="0"/>
            </a:xfrm>
            <a:prstGeom prst="line">
              <a:avLst/>
            </a:prstGeom>
            <a:ln w="3810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C500B4E5-E6E8-4A33-ADF2-4847A358483A}"/>
                </a:ext>
              </a:extLst>
            </p:cNvPr>
            <p:cNvCxnSpPr>
              <a:cxnSpLocks/>
            </p:cNvCxnSpPr>
            <p:nvPr/>
          </p:nvCxnSpPr>
          <p:spPr>
            <a:xfrm>
              <a:off x="10660768" y="7327761"/>
              <a:ext cx="6808099" cy="750130"/>
            </a:xfrm>
            <a:prstGeom prst="line">
              <a:avLst/>
            </a:prstGeom>
            <a:ln w="38100" cap="rnd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585D57B-1D53-4DE0-BB4D-97D6C872FD8B}"/>
              </a:ext>
            </a:extLst>
          </p:cNvPr>
          <p:cNvSpPr txBox="1"/>
          <p:nvPr/>
        </p:nvSpPr>
        <p:spPr>
          <a:xfrm>
            <a:off x="8502234" y="6387965"/>
            <a:ext cx="1335723" cy="33855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383A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50 T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8A652A6-437E-40D0-BDEE-BF36E715CE0C}"/>
              </a:ext>
            </a:extLst>
          </p:cNvPr>
          <p:cNvSpPr txBox="1"/>
          <p:nvPr/>
        </p:nvSpPr>
        <p:spPr>
          <a:xfrm>
            <a:off x="6319644" y="6401380"/>
            <a:ext cx="1304649" cy="33855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383A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359778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020C966-A775-49D7-A3AB-356DC4D64D35}"/>
              </a:ext>
            </a:extLst>
          </p:cNvPr>
          <p:cNvSpPr txBox="1">
            <a:spLocks/>
          </p:cNvSpPr>
          <p:nvPr/>
        </p:nvSpPr>
        <p:spPr>
          <a:xfrm>
            <a:off x="10766612" y="6551612"/>
            <a:ext cx="1252817" cy="30638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511175" indent="-53975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1022350" indent="-10795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535113" indent="-163513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2046288" indent="-217488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132D56-794B-46AE-BF90-F608864D8FA8}" type="slidenum">
              <a:rPr kumimoji="0" lang="de-DE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altLang="en-US" sz="11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pic>
        <p:nvPicPr>
          <p:cNvPr id="13" name="Picture 12" descr="A screenshot of a cell phone&#10;&#10;Description automatically generated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6"/>
          <a:stretch/>
        </p:blipFill>
        <p:spPr>
          <a:xfrm>
            <a:off x="1573705" y="1564717"/>
            <a:ext cx="5906348" cy="5014942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360845" y="278340"/>
            <a:ext cx="10132983" cy="63931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400" kern="0" dirty="0">
                <a:solidFill>
                  <a:srgbClr val="00619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IRENA pathways generate employment, welfare and growth benefits to 2050</a:t>
            </a:r>
            <a:endParaRPr lang="en-US" sz="2400" kern="0" dirty="0">
              <a:solidFill>
                <a:srgbClr val="0061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/>
          <a:srcRect t="5801"/>
          <a:stretch/>
        </p:blipFill>
        <p:spPr>
          <a:xfrm>
            <a:off x="8345783" y="1080219"/>
            <a:ext cx="3351897" cy="360850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9547" y="1548653"/>
            <a:ext cx="479735" cy="348997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6"/>
          <a:srcRect l="13202" t="8198" r="6670" b="4095"/>
          <a:stretch/>
        </p:blipFill>
        <p:spPr>
          <a:xfrm>
            <a:off x="10342485" y="4250488"/>
            <a:ext cx="1001156" cy="96056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827" y="5211049"/>
            <a:ext cx="2901807" cy="1044650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224804" y="1213569"/>
            <a:ext cx="1348901" cy="1322961"/>
          </a:xfrm>
          <a:prstGeom prst="ellipse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3.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lion jobs</a:t>
            </a:r>
            <a:endParaRPr kumimoji="0" lang="en-GB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792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9" name="Google Shape;619;p8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1617" y="1192835"/>
            <a:ext cx="11030255" cy="528326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108BA4B-F9AD-3D42-B53A-FF475B163A79}"/>
              </a:ext>
            </a:extLst>
          </p:cNvPr>
          <p:cNvSpPr/>
          <p:nvPr/>
        </p:nvSpPr>
        <p:spPr>
          <a:xfrm>
            <a:off x="8458200" y="4813571"/>
            <a:ext cx="3642183" cy="195298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18" name="Google Shape;618;p82"/>
          <p:cNvSpPr/>
          <p:nvPr/>
        </p:nvSpPr>
        <p:spPr>
          <a:xfrm>
            <a:off x="348383" y="311082"/>
            <a:ext cx="11752000" cy="67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>
              <a:buClr>
                <a:srgbClr val="0872A6"/>
              </a:buClr>
              <a:buSzPts val="2100"/>
            </a:pPr>
            <a:r>
              <a:rPr lang="en-US" sz="2400" b="1" dirty="0">
                <a:solidFill>
                  <a:srgbClr val="006192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hort-term benefits from investing in the energy transition</a:t>
            </a:r>
          </a:p>
          <a:p>
            <a:pPr>
              <a:buClr>
                <a:srgbClr val="0872A6"/>
              </a:buClr>
              <a:buSzPts val="2100"/>
            </a:pPr>
            <a:endParaRPr sz="2400" b="1" dirty="0">
              <a:solidFill>
                <a:srgbClr val="0872A6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620" name="Google Shape;620;p8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83506" y="2785480"/>
            <a:ext cx="1171225" cy="173763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762CA5D-12CA-B84B-812A-CACF52CDD2BD}"/>
              </a:ext>
            </a:extLst>
          </p:cNvPr>
          <p:cNvGrpSpPr/>
          <p:nvPr/>
        </p:nvGrpSpPr>
        <p:grpSpPr>
          <a:xfrm>
            <a:off x="8620759" y="4884310"/>
            <a:ext cx="3317064" cy="1811509"/>
            <a:chOff x="8568100" y="4813571"/>
            <a:chExt cx="3317064" cy="1811509"/>
          </a:xfrm>
        </p:grpSpPr>
        <p:pic>
          <p:nvPicPr>
            <p:cNvPr id="7" name="Google Shape;132;p22"/>
            <p:cNvPicPr preferRelativeResize="0"/>
            <p:nvPr/>
          </p:nvPicPr>
          <p:blipFill rotWithShape="1">
            <a:blip r:embed="rId5">
              <a:alphaModFix/>
            </a:blip>
            <a:srcRect l="2385" t="6121" r="43023" b="18968"/>
            <a:stretch/>
          </p:blipFill>
          <p:spPr>
            <a:xfrm>
              <a:off x="8568100" y="5145493"/>
              <a:ext cx="2168302" cy="147958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4D65365-4672-CF4D-8BF2-45DD5C8108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126" t="6357" r="8840" b="6928"/>
            <a:stretch/>
          </p:blipFill>
          <p:spPr>
            <a:xfrm>
              <a:off x="10630847" y="4813571"/>
              <a:ext cx="1254317" cy="173334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467850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479CA00-743A-4E24-8DA4-1020E6BC74D5}"/>
              </a:ext>
            </a:extLst>
          </p:cNvPr>
          <p:cNvSpPr txBox="1"/>
          <p:nvPr/>
        </p:nvSpPr>
        <p:spPr>
          <a:xfrm>
            <a:off x="0" y="1646219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872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ank you for your attention!</a:t>
            </a:r>
          </a:p>
        </p:txBody>
      </p:sp>
      <p:pic>
        <p:nvPicPr>
          <p:cNvPr id="17" name="Picture 2" descr="https://www.irena.org/-/media/Images/IRENA/Agency/Publication/2020/Sep/Reaching_zero_cover.jpg?h=311&amp;w=220&amp;la=en&amp;hash=84DD8457C4D17D579F8683221FC0AF4A2A9D9DD4">
            <a:extLst>
              <a:ext uri="{FF2B5EF4-FFF2-40B4-BE49-F238E27FC236}">
                <a16:creationId xmlns:a16="http://schemas.microsoft.com/office/drawing/2014/main" id="{DF1BE3B7-B901-4B18-AE6D-C24D60352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1632" y="2824522"/>
            <a:ext cx="1688736" cy="238725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958126-2A5B-46A0-B109-A56A4FAC8D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2978" y="506806"/>
            <a:ext cx="1613839" cy="228729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Google Shape;631;p83" descr="A picture containing graphical user interfac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51087" y="2521266"/>
            <a:ext cx="1680389" cy="228408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Google Shape;635;p83" descr="Logo, company name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658198" y="2107884"/>
            <a:ext cx="1607839" cy="23695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Google Shape;638;p83" descr="Text&#10;&#10;Description automatically generated with medium confidenc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718905" y="2532832"/>
            <a:ext cx="1437836" cy="199961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Google Shape;641;p83" descr="A picture containing square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367018" y="4112980"/>
            <a:ext cx="1446092" cy="186042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Google Shape;642;p83" descr="Diagram&#10;&#10;Description automatically generated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475062" y="3788619"/>
            <a:ext cx="1302805" cy="192299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/>
          <a:srcRect l="2343" t="1472" r="3159" b="2997"/>
          <a:stretch/>
        </p:blipFill>
        <p:spPr>
          <a:xfrm>
            <a:off x="8130190" y="2999944"/>
            <a:ext cx="1301302" cy="186042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Google Shape;633;p83" descr="Chart, scatter chart&#10;&#10;Description automatically generated with medium confidence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9935139" y="5306788"/>
            <a:ext cx="1053956" cy="130524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2"/>
          <a:srcRect l="8126" t="6357" r="8840" b="6928"/>
          <a:stretch/>
        </p:blipFill>
        <p:spPr>
          <a:xfrm>
            <a:off x="7434677" y="3975434"/>
            <a:ext cx="1254317" cy="173334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Google Shape;630;p83" descr="Chart&#10;&#10;Description automatically generated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423301" y="4476697"/>
            <a:ext cx="1475166" cy="213534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C720EFC-7174-412C-896F-299A3E7B975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2902" y="230789"/>
            <a:ext cx="1741540" cy="246512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DE9BCE45-8C85-5246-9207-5B34E7F3DED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708049" y="823401"/>
            <a:ext cx="2800146" cy="70920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55C051D-B53B-D449-B9E1-7C721B67AB58}"/>
              </a:ext>
            </a:extLst>
          </p:cNvPr>
          <p:cNvSpPr txBox="1"/>
          <p:nvPr/>
        </p:nvSpPr>
        <p:spPr>
          <a:xfrm>
            <a:off x="0" y="6116158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872A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ww.irena.org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872A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128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76C5137B447346801C682ADC33C85A" ma:contentTypeVersion="13" ma:contentTypeDescription="Create a new document." ma:contentTypeScope="" ma:versionID="286ee185cf3ea72bb00cbe40b4a5d7d0">
  <xsd:schema xmlns:xsd="http://www.w3.org/2001/XMLSchema" xmlns:xs="http://www.w3.org/2001/XMLSchema" xmlns:p="http://schemas.microsoft.com/office/2006/metadata/properties" xmlns:ns2="c6c24ece-1b07-426b-bedc-871241e7e223" xmlns:ns3="c8f347f8-85fa-4488-8783-ee09b7d8e676" targetNamespace="http://schemas.microsoft.com/office/2006/metadata/properties" ma:root="true" ma:fieldsID="7c78bf413156e562e8fa641550507e67" ns2:_="" ns3:_="">
    <xsd:import namespace="c6c24ece-1b07-426b-bedc-871241e7e223"/>
    <xsd:import namespace="c8f347f8-85fa-4488-8783-ee09b7d8e67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24ece-1b07-426b-bedc-871241e7e2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f347f8-85fa-4488-8783-ee09b7d8e67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45A9CF-4305-4B29-9416-7F6F1763238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DF8725-0007-4334-913F-DF86957EB63F}">
  <ds:schemaRefs>
    <ds:schemaRef ds:uri="http://purl.org/dc/terms/"/>
    <ds:schemaRef ds:uri="http://schemas.openxmlformats.org/package/2006/metadata/core-properties"/>
    <ds:schemaRef ds:uri="a77902eb-0f7a-4646-b7d0-fdea15cf57e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3b9b789-7963-4306-a2bb-8a9583246b3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26473B3-5EA4-4735-8145-3EBD6EAD49F7}"/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249</Words>
  <Application>Microsoft Office PowerPoint</Application>
  <PresentationFormat>Widescreen</PresentationFormat>
  <Paragraphs>72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2_Custom Design</vt:lpstr>
      <vt:lpstr>think-cell Slide</vt:lpstr>
      <vt:lpstr>PowerPoint Presentation</vt:lpstr>
      <vt:lpstr>PowerPoint Presentation</vt:lpstr>
      <vt:lpstr>PowerPoint Presentation</vt:lpstr>
      <vt:lpstr>Green Hydrogen as game changer developing green H2 economie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uela Stefanides</dc:creator>
  <cp:lastModifiedBy>Daria Gazzola</cp:lastModifiedBy>
  <cp:revision>7</cp:revision>
  <cp:lastPrinted>2021-01-29T08:33:20Z</cp:lastPrinted>
  <dcterms:created xsi:type="dcterms:W3CDTF">2019-12-15T06:25:28Z</dcterms:created>
  <dcterms:modified xsi:type="dcterms:W3CDTF">2021-11-10T07:5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76C5137B447346801C682ADC33C85A</vt:lpwstr>
  </property>
</Properties>
</file>